
<file path=[Content_Types].xml><?xml version="1.0" encoding="utf-8"?>
<Types xmlns="http://schemas.openxmlformats.org/package/2006/content-types"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3"/>
  </p:sldMasterIdLst>
  <p:notesMasterIdLst>
    <p:notesMasterId r:id="rId6"/>
  </p:notesMasterIdLst>
  <p:handoutMasterIdLst>
    <p:handoutMasterId r:id="rId7"/>
  </p:handoutMasterIdLst>
  <p:sldIdLst>
    <p:sldId id="277" r:id="rId4"/>
    <p:sldId id="276" r:id="rId5"/>
  </p:sldIdLst>
  <p:sldSz cx="12192000" cy="6858000"/>
  <p:notesSz cx="6797675" cy="9928225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无标题节" id="{AF09C6A0-B249-42B8-957B-2F903DF8AB13}">
          <p14:sldIdLst>
            <p14:sldId id="277"/>
            <p14:sldId id="2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570" userDrawn="1">
          <p15:clr>
            <a:srgbClr val="A4A3A4"/>
          </p15:clr>
        </p15:guide>
        <p15:guide id="2" orient="horz" pos="3702" userDrawn="1">
          <p15:clr>
            <a:srgbClr val="A4A3A4"/>
          </p15:clr>
        </p15:guide>
        <p15:guide id="3" orient="horz" pos="2115" userDrawn="1">
          <p15:clr>
            <a:srgbClr val="A4A3A4"/>
          </p15:clr>
        </p15:guide>
        <p15:guide id="4" orient="horz" pos="1842" userDrawn="1">
          <p15:clr>
            <a:srgbClr val="A4A3A4"/>
          </p15:clr>
        </p15:guide>
        <p15:guide id="5" orient="horz" pos="119" userDrawn="1">
          <p15:clr>
            <a:srgbClr val="A4A3A4"/>
          </p15:clr>
        </p15:guide>
        <p15:guide id="6" orient="horz" pos="4201" userDrawn="1">
          <p15:clr>
            <a:srgbClr val="A4A3A4"/>
          </p15:clr>
        </p15:guide>
        <p15:guide id="7" orient="horz" pos="2387" userDrawn="1">
          <p15:clr>
            <a:srgbClr val="A4A3A4"/>
          </p15:clr>
        </p15:guide>
        <p15:guide id="8" pos="332" userDrawn="1">
          <p15:clr>
            <a:srgbClr val="A4A3A4"/>
          </p15:clr>
        </p15:guide>
        <p15:guide id="10" pos="4240" userDrawn="1">
          <p15:clr>
            <a:srgbClr val="A4A3A4"/>
          </p15:clr>
        </p15:guide>
        <p15:guide id="11" pos="5049" userDrawn="1">
          <p15:clr>
            <a:srgbClr val="A4A3A4"/>
          </p15:clr>
        </p15:guide>
        <p15:guide id="12" pos="4619" userDrawn="1">
          <p15:clr>
            <a:srgbClr val="A4A3A4"/>
          </p15:clr>
        </p15:guide>
        <p15:guide id="13" pos="5765" userDrawn="1">
          <p15:clr>
            <a:srgbClr val="A4A3A4"/>
          </p15:clr>
        </p15:guide>
        <p15:guide id="14" pos="2631" userDrawn="1">
          <p15:clr>
            <a:srgbClr val="A4A3A4"/>
          </p15:clr>
        </p15:guide>
        <p15:guide id="16" pos="151" userDrawn="1">
          <p15:clr>
            <a:srgbClr val="A4A3A4"/>
          </p15:clr>
        </p15:guide>
        <p15:guide id="17" pos="7529" userDrawn="1">
          <p15:clr>
            <a:srgbClr val="A4A3A4"/>
          </p15:clr>
        </p15:guide>
        <p15:guide id="18" pos="7328" userDrawn="1">
          <p15:clr>
            <a:srgbClr val="A4A3A4"/>
          </p15:clr>
        </p15:guide>
        <p15:guide id="19" pos="3088" userDrawn="1">
          <p15:clr>
            <a:srgbClr val="A4A3A4"/>
          </p15:clr>
        </p15:guide>
        <p15:guide id="20" orient="horz" pos="604" userDrawn="1">
          <p15:clr>
            <a:srgbClr val="A4A3A4"/>
          </p15:clr>
        </p15:guide>
        <p15:guide id="21" orient="horz" pos="2652" userDrawn="1">
          <p15:clr>
            <a:srgbClr val="A4A3A4"/>
          </p15:clr>
        </p15:guide>
        <p15:guide id="22" orient="horz" pos="2928" userDrawn="1">
          <p15:clr>
            <a:srgbClr val="A4A3A4"/>
          </p15:clr>
        </p15:guide>
        <p15:guide id="23" orient="horz" pos="318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, Qi02" initials="AQ" lastIdx="1" clrIdx="0">
    <p:extLst>
      <p:ext uri="{19B8F6BF-5375-455C-9EA6-DF929625EA0E}">
        <p15:presenceInfo xmlns:p15="http://schemas.microsoft.com/office/powerpoint/2012/main" userId="S::uidw3549@contiwan.com::349b192d-9ea6-48c3-b3c2-f31b7c9b2c3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CD5D35"/>
    <a:srgbClr val="FE0303"/>
    <a:srgbClr val="FE8181"/>
    <a:srgbClr val="003366"/>
    <a:srgbClr val="0066FF"/>
    <a:srgbClr val="F69200"/>
    <a:srgbClr val="00CC00"/>
    <a:srgbClr val="FF0000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0" autoAdjust="0"/>
    <p:restoredTop sz="94967" autoAdjust="0"/>
  </p:normalViewPr>
  <p:slideViewPr>
    <p:cSldViewPr snapToObjects="1" showGuides="1">
      <p:cViewPr varScale="1">
        <p:scale>
          <a:sx n="85" d="100"/>
          <a:sy n="85" d="100"/>
        </p:scale>
        <p:origin x="590" y="48"/>
      </p:cViewPr>
      <p:guideLst>
        <p:guide orient="horz" pos="1570"/>
        <p:guide orient="horz" pos="3702"/>
        <p:guide orient="horz" pos="2115"/>
        <p:guide orient="horz" pos="1842"/>
        <p:guide orient="horz" pos="119"/>
        <p:guide orient="horz" pos="4201"/>
        <p:guide orient="horz" pos="2387"/>
        <p:guide pos="332"/>
        <p:guide pos="4240"/>
        <p:guide pos="5049"/>
        <p:guide pos="4619"/>
        <p:guide pos="5765"/>
        <p:guide pos="2631"/>
        <p:guide pos="151"/>
        <p:guide pos="7529"/>
        <p:guide pos="7328"/>
        <p:guide pos="3088"/>
        <p:guide orient="horz" pos="604"/>
        <p:guide orient="horz" pos="2652"/>
        <p:guide orient="horz" pos="2928"/>
        <p:guide orient="horz" pos="318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63" d="100"/>
          <a:sy n="63" d="100"/>
        </p:scale>
        <p:origin x="-3276" y="-11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1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186BC867-3ED9-4D7D-81C2-A7E0B4186BF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955" cy="497397"/>
          </a:xfrm>
          <a:prstGeom prst="rect">
            <a:avLst/>
          </a:prstGeom>
        </p:spPr>
        <p:txBody>
          <a:bodyPr vert="horz" lIns="87444" tIns="43722" rIns="87444" bIns="43722" rtlCol="0"/>
          <a:lstStyle>
            <a:lvl1pPr algn="l">
              <a:defRPr sz="11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AAAE028E-FB4F-4585-BF9D-FD810E37214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245" y="1"/>
            <a:ext cx="2945955" cy="497397"/>
          </a:xfrm>
          <a:prstGeom prst="rect">
            <a:avLst/>
          </a:prstGeom>
        </p:spPr>
        <p:txBody>
          <a:bodyPr vert="horz" lIns="87444" tIns="43722" rIns="87444" bIns="43722" rtlCol="0"/>
          <a:lstStyle>
            <a:lvl1pPr algn="r">
              <a:defRPr sz="1100"/>
            </a:lvl1pPr>
          </a:lstStyle>
          <a:p>
            <a:fld id="{1C2BEF2E-9D7B-48F6-8185-D09F33E8ED5D}" type="datetime1">
              <a:rPr lang="en-US" altLang="zh-CN" smtClean="0"/>
              <a:t>7/16/202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6A4A0D4-9CBB-4D3C-A979-CF55DB1F6B6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829"/>
            <a:ext cx="2945955" cy="497396"/>
          </a:xfrm>
          <a:prstGeom prst="rect">
            <a:avLst/>
          </a:prstGeom>
        </p:spPr>
        <p:txBody>
          <a:bodyPr vert="horz" lIns="87444" tIns="43722" rIns="87444" bIns="43722" rtlCol="0" anchor="b"/>
          <a:lstStyle>
            <a:lvl1pPr algn="l">
              <a:defRPr sz="11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29975DFE-3E9D-403F-AEE2-247C888C5B8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245" y="9430829"/>
            <a:ext cx="2945955" cy="497396"/>
          </a:xfrm>
          <a:prstGeom prst="rect">
            <a:avLst/>
          </a:prstGeom>
        </p:spPr>
        <p:txBody>
          <a:bodyPr vert="horz" lIns="87444" tIns="43722" rIns="87444" bIns="43722" rtlCol="0" anchor="b"/>
          <a:lstStyle>
            <a:lvl1pPr algn="r">
              <a:defRPr sz="1100"/>
            </a:lvl1pPr>
          </a:lstStyle>
          <a:p>
            <a:fld id="{66F16AE8-BCAA-4498-98BC-99160C6BA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32023745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400" cy="496968"/>
          </a:xfrm>
          <a:prstGeom prst="rect">
            <a:avLst/>
          </a:prstGeom>
        </p:spPr>
        <p:txBody>
          <a:bodyPr vert="horz" lIns="87444" tIns="43722" rIns="87444" bIns="43722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9" y="0"/>
            <a:ext cx="2946400" cy="496968"/>
          </a:xfrm>
          <a:prstGeom prst="rect">
            <a:avLst/>
          </a:prstGeom>
        </p:spPr>
        <p:txBody>
          <a:bodyPr vert="horz" lIns="87444" tIns="43722" rIns="87444" bIns="43722" rtlCol="0"/>
          <a:lstStyle>
            <a:lvl1pPr algn="r">
              <a:defRPr sz="1100"/>
            </a:lvl1pPr>
          </a:lstStyle>
          <a:p>
            <a:fld id="{D6C9697B-2248-4B06-944A-FC0BD6C67DA3}" type="datetime1">
              <a:rPr lang="en-US" altLang="zh-CN" smtClean="0"/>
              <a:t>7/1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6125"/>
            <a:ext cx="6616700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444" tIns="43722" rIns="87444" bIns="4372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1" y="4715630"/>
            <a:ext cx="5438775" cy="4467939"/>
          </a:xfrm>
          <a:prstGeom prst="rect">
            <a:avLst/>
          </a:prstGeom>
        </p:spPr>
        <p:txBody>
          <a:bodyPr vert="horz" lIns="87444" tIns="43722" rIns="87444" bIns="4372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9671"/>
            <a:ext cx="2946400" cy="496967"/>
          </a:xfrm>
          <a:prstGeom prst="rect">
            <a:avLst/>
          </a:prstGeom>
        </p:spPr>
        <p:txBody>
          <a:bodyPr vert="horz" lIns="87444" tIns="43722" rIns="87444" bIns="43722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9" y="9429671"/>
            <a:ext cx="2946400" cy="496967"/>
          </a:xfrm>
          <a:prstGeom prst="rect">
            <a:avLst/>
          </a:prstGeom>
        </p:spPr>
        <p:txBody>
          <a:bodyPr vert="horz" lIns="87444" tIns="43722" rIns="87444" bIns="43722" rtlCol="0" anchor="b"/>
          <a:lstStyle>
            <a:lvl1pPr algn="r">
              <a:defRPr sz="1100"/>
            </a:lvl1pPr>
          </a:lstStyle>
          <a:p>
            <a:fld id="{895FBD5B-86B3-4237-9ABE-BC606D1FF7F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867714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239185" y="188913"/>
            <a:ext cx="11713633" cy="396081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1,0 cm)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671397" y="-567404"/>
            <a:ext cx="11520603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37909" y="1215538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4401108"/>
            <a:ext cx="10896188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746878"/>
            <a:ext cx="10896187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6" y="6021289"/>
            <a:ext cx="6767729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1"/>
            <a:ext cx="3407833" cy="130492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341438"/>
            <a:ext cx="5520267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42568" y="1341438"/>
            <a:ext cx="5522384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527052" y="296863"/>
            <a:ext cx="11137899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5F3CB942-2431-470F-A924-773110330940}" type="datetime3">
              <a:rPr lang="en-US" altLang="zh-CN" noProof="0" smtClean="0"/>
              <a:t>16 July 2024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341437"/>
            <a:ext cx="5520267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186257B0-D20D-46C0-A401-3357B0D6163B}" type="datetime3">
              <a:rPr lang="en-US" altLang="zh-CN" noProof="0" smtClean="0"/>
              <a:t>16 July 2024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1" y="1341437"/>
            <a:ext cx="3649133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271434" y="1341438"/>
            <a:ext cx="3649133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8015818" y="1341438"/>
            <a:ext cx="3649133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89B85FBF-586A-4408-83A2-9305CADBE609}" type="datetime3">
              <a:rPr lang="en-US" altLang="zh-CN" noProof="0" smtClean="0"/>
              <a:t>16 July 2024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341438"/>
            <a:ext cx="552026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42569" y="1341438"/>
            <a:ext cx="5522383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057819B4-5BB3-40E0-92B4-31A8E91FAC5D}" type="datetime3">
              <a:rPr lang="en-US" altLang="zh-CN" noProof="0" smtClean="0"/>
              <a:t>16 July 2024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527053" y="3644901"/>
            <a:ext cx="5520265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6142568" y="3644901"/>
            <a:ext cx="5522384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DBB6883-29CD-47AD-969D-F827FFF49601}" type="datetime3">
              <a:rPr lang="en-US" altLang="zh-CN" noProof="0" smtClean="0"/>
              <a:t>16 July 2024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77008BF-00A9-4226-823E-2ED88EFC2FD9}" type="datetime3">
              <a:rPr lang="en-US" altLang="zh-CN" noProof="0" smtClean="0"/>
              <a:t>16 July 2024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3114489"/>
            <a:ext cx="11137900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456893"/>
            <a:ext cx="11137900" cy="719137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5E60540-0F45-4669-B70F-96D4A7FF3436}" type="datetime3">
              <a:rPr lang="en-US" altLang="zh-CN" noProof="0" smtClean="0"/>
              <a:t>16 July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549" y="6094965"/>
            <a:ext cx="24768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6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3114489"/>
            <a:ext cx="11137900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456893"/>
            <a:ext cx="11137900" cy="719137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D89B6-D389-411D-83F5-ACC1A63FF278}" type="datetime3">
              <a:rPr lang="en-US" altLang="zh-CN" noProof="0" smtClean="0"/>
              <a:t>16 July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2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3114489"/>
            <a:ext cx="11137900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456893"/>
            <a:ext cx="11137900" cy="719137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AA1D557-7EE6-4873-9AF5-FB4CB7C73521}" type="datetime3">
              <a:rPr lang="en-US" altLang="zh-CN" noProof="0" smtClean="0"/>
              <a:t>16 July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4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089BDB9-B70F-4B87-A3C1-AFE761FA68B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504B9673-B248-485B-A90A-7C5253EC8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32F9D74A-FBE0-425D-9642-995123835A75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E788FAB4-76CB-4C6D-B621-6A743E02A41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F7E1ACF2-8A1B-4DB6-BE92-3D6012F45AAD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ktivitäte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947D2E2-B9BD-4867-96BB-0E2A9A80742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C339FBF6-C82F-48A2-A44B-1587C009EB0D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Intern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ACC22E2-F21B-4290-B56B-022F9C2C4E7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/>
              <a:t>February 3, 2022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898C5E-943F-4EF0-A433-E752FF2A5D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 dirty="0"/>
              <a:t>Kenneth Francis, © Continental AG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5EB725-AAD5-4A3E-84A9-A9B8DA2644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BC6D34E-31BA-4160-99E6-174A31F55D5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87957" y="285160"/>
            <a:ext cx="1606192" cy="1110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5680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957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15B8BD-02DF-4CB5-932C-568CD3A59D32}" type="datetime3">
              <a:rPr lang="en-US" altLang="zh-CN" noProof="0" smtClean="0"/>
              <a:t>16 July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3839314"/>
            <a:ext cx="10896187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185084"/>
            <a:ext cx="10896187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6" y="6021289"/>
            <a:ext cx="6767729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984" y="-1"/>
            <a:ext cx="3407835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239185" y="188913"/>
            <a:ext cx="11713633" cy="64801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8,0 cm)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671397" y="-567404"/>
            <a:ext cx="11520603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37909" y="1215538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4401108"/>
            <a:ext cx="10896188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746878"/>
            <a:ext cx="10896187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6" y="6021289"/>
            <a:ext cx="6767729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1"/>
            <a:ext cx="3407833" cy="1304925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120FB2-60D8-475D-BDA2-3D212412219D}" type="datetime3">
              <a:rPr lang="en-US" altLang="zh-CN" noProof="0" smtClean="0"/>
              <a:t>16 July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549" y="6094965"/>
            <a:ext cx="24768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2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25C289-717F-4305-8DDA-D1CA9EFA8EF6}" type="datetime3">
              <a:rPr lang="en-US" altLang="zh-CN" noProof="0" smtClean="0"/>
              <a:t>16 July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CC7130-34BF-445B-B12C-C29BBD9ECAB9}" type="datetime3">
              <a:rPr lang="en-US" altLang="zh-CN" noProof="0" smtClean="0"/>
              <a:t>16 July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D2DB7E-E2C6-410A-A0EC-5A0509FFDA8D}" type="datetime3">
              <a:rPr lang="en-US" altLang="zh-CN" noProof="0" smtClean="0"/>
              <a:t>16 July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3644900"/>
            <a:ext cx="11137900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3CC132-E7BF-4221-8897-7A015CDB0129}" type="datetime3">
              <a:rPr lang="en-US" altLang="zh-CN" noProof="0" smtClean="0"/>
              <a:t>16 July 202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7021;MIO_UPDATE=True;MIO_VERSION=31.01.2014 11:36:49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336850" y="6095033"/>
            <a:ext cx="2476500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27051" y="1341439"/>
            <a:ext cx="11137900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8467313" y="6224489"/>
            <a:ext cx="2669247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5DCAA9BA-B1FA-47D8-A35C-B18430D44546}" type="datetime3">
              <a:rPr lang="en-US" altLang="zh-CN" noProof="0" smtClean="0"/>
              <a:t>16 July 2024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8467314" y="6375515"/>
            <a:ext cx="2669247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11184566" y="6375515"/>
            <a:ext cx="48038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Changchun</a:t>
            </a:r>
            <a:r>
              <a:rPr lang="en-US" sz="700" b="1" baseline="0" noProof="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Moonlake</a:t>
            </a:r>
          </a:p>
        </p:txBody>
      </p:sp>
      <p:sp>
        <p:nvSpPr>
          <p:cNvPr id="4" name="empower - DO NOT DELETE!!!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MSIPCMContentMarking" descr="{&quot;HashCode&quot;:441879987,&quot;Placement&quot;:&quot;Footer&quot;,&quot;Top&quot;:522.0343,&quot;Left&quot;:457.9163,&quot;SlideWidth&quot;:960,&quot;SlideHeight&quot;:540}">
            <a:extLst>
              <a:ext uri="{FF2B5EF4-FFF2-40B4-BE49-F238E27FC236}">
                <a16:creationId xmlns:a16="http://schemas.microsoft.com/office/drawing/2014/main" id="{69DEFD02-F944-4B9D-93BD-8764320ED7BA}"/>
              </a:ext>
            </a:extLst>
          </p:cNvPr>
          <p:cNvSpPr txBox="1"/>
          <p:nvPr userDrawn="1"/>
        </p:nvSpPr>
        <p:spPr>
          <a:xfrm>
            <a:off x="5815537" y="6629836"/>
            <a:ext cx="560927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altLang="zh-CN" sz="8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  <a:endParaRPr lang="zh-CN" altLang="en-US" sz="8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A screenshot of a computer&#10;&#10;Description automatically generated">
            <a:extLst>
              <a:ext uri="{FF2B5EF4-FFF2-40B4-BE49-F238E27FC236}">
                <a16:creationId xmlns:a16="http://schemas.microsoft.com/office/drawing/2014/main" id="{899C2F99-A5D8-1008-D3D3-CB496B23A0E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27051" y="1115474"/>
            <a:ext cx="8665293" cy="4761451"/>
          </a:xfrm>
          <a:noFill/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AC0607C5-37F9-3172-9B05-CB4F0A462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/>
          <a:p>
            <a:r>
              <a:rPr lang="en-US" altLang="zh-CN" dirty="0">
                <a:solidFill>
                  <a:schemeClr val="tx1"/>
                </a:solidFill>
              </a:rPr>
              <a:t>E-A3-syste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A70582-8118-0C24-12D5-5784C9273E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84566" y="6375515"/>
            <a:ext cx="480385" cy="15044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smtClean="0"/>
              <a:pPr>
                <a:spcAft>
                  <a:spcPts val="600"/>
                </a:spcAft>
              </a:pPr>
              <a:t>1</a:t>
            </a:fld>
            <a:endParaRPr lang="en-US"/>
          </a:p>
        </p:txBody>
      </p:sp>
      <p:sp>
        <p:nvSpPr>
          <p:cNvPr id="7" name="Explosion: 8 Points 6">
            <a:extLst>
              <a:ext uri="{FF2B5EF4-FFF2-40B4-BE49-F238E27FC236}">
                <a16:creationId xmlns:a16="http://schemas.microsoft.com/office/drawing/2014/main" id="{987D5E33-77E2-C036-3166-06393CF4678A}"/>
              </a:ext>
            </a:extLst>
          </p:cNvPr>
          <p:cNvSpPr/>
          <p:nvPr/>
        </p:nvSpPr>
        <p:spPr>
          <a:xfrm>
            <a:off x="9696400" y="988341"/>
            <a:ext cx="1800200" cy="839843"/>
          </a:xfrm>
          <a:prstGeom prst="irregularSeal1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zh-CN" altLang="en-US" sz="1400" dirty="0"/>
              <a:t>分步录入</a:t>
            </a:r>
            <a:endParaRPr lang="zh-CN" altLang="en-US" sz="16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" name="Explosion: 8 Points 7">
            <a:extLst>
              <a:ext uri="{FF2B5EF4-FFF2-40B4-BE49-F238E27FC236}">
                <a16:creationId xmlns:a16="http://schemas.microsoft.com/office/drawing/2014/main" id="{E5343A0F-7609-0BFB-D420-1762EADC7691}"/>
              </a:ext>
            </a:extLst>
          </p:cNvPr>
          <p:cNvSpPr/>
          <p:nvPr/>
        </p:nvSpPr>
        <p:spPr>
          <a:xfrm>
            <a:off x="9912423" y="2204864"/>
            <a:ext cx="1800199" cy="719136"/>
          </a:xfrm>
          <a:prstGeom prst="irregularSeal1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zh-CN" altLang="en-US" sz="1400" dirty="0"/>
              <a:t>用户友好</a:t>
            </a:r>
            <a:endParaRPr lang="zh-CN" altLang="en-US" sz="16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" name="Explosion: 8 Points 8">
            <a:extLst>
              <a:ext uri="{FF2B5EF4-FFF2-40B4-BE49-F238E27FC236}">
                <a16:creationId xmlns:a16="http://schemas.microsoft.com/office/drawing/2014/main" id="{E1DD6D4C-DDFC-1C9E-0150-8A84FAE27696}"/>
              </a:ext>
            </a:extLst>
          </p:cNvPr>
          <p:cNvSpPr/>
          <p:nvPr/>
        </p:nvSpPr>
        <p:spPr>
          <a:xfrm>
            <a:off x="9911480" y="3403090"/>
            <a:ext cx="1657128" cy="962014"/>
          </a:xfrm>
          <a:prstGeom prst="irregularSeal1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zh-CN" altLang="en-US" sz="1400" dirty="0"/>
              <a:t>风格统一</a:t>
            </a:r>
            <a:endParaRPr lang="en-US" altLang="zh-CN" sz="1400" dirty="0"/>
          </a:p>
        </p:txBody>
      </p:sp>
      <p:sp>
        <p:nvSpPr>
          <p:cNvPr id="12" name="Explosion: 8 Points 11">
            <a:extLst>
              <a:ext uri="{FF2B5EF4-FFF2-40B4-BE49-F238E27FC236}">
                <a16:creationId xmlns:a16="http://schemas.microsoft.com/office/drawing/2014/main" id="{E76F8E00-1304-9E8C-4BA9-63EE4AC39B41}"/>
              </a:ext>
            </a:extLst>
          </p:cNvPr>
          <p:cNvSpPr/>
          <p:nvPr/>
        </p:nvSpPr>
        <p:spPr>
          <a:xfrm>
            <a:off x="10020434" y="4844194"/>
            <a:ext cx="1476166" cy="817054"/>
          </a:xfrm>
          <a:prstGeom prst="irregularSeal1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zh-CN" altLang="en-US" sz="1400" dirty="0"/>
              <a:t>组件化</a:t>
            </a:r>
          </a:p>
        </p:txBody>
      </p:sp>
    </p:spTree>
    <p:extLst>
      <p:ext uri="{BB962C8B-B14F-4D97-AF65-F5344CB8AC3E}">
        <p14:creationId xmlns:p14="http://schemas.microsoft.com/office/powerpoint/2010/main" val="111742041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9C67E6-C629-A523-9EB7-CEBBFF6B5B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MicroService</a:t>
            </a:r>
            <a:endParaRPr lang="zh-CN" alt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9B3156-85B9-2428-BD60-4537352BE35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5" name="Picture 2" descr="microservice-sample-diagram">
            <a:extLst>
              <a:ext uri="{FF2B5EF4-FFF2-40B4-BE49-F238E27FC236}">
                <a16:creationId xmlns:a16="http://schemas.microsoft.com/office/drawing/2014/main" id="{2D702C24-B6EA-E214-8D8B-7FA1C48B5121}"/>
              </a:ext>
            </a:extLst>
          </p:cNvPr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3305" y="1341438"/>
            <a:ext cx="8945390" cy="4535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178175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HASAGENDA" val="True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ykOMtSeag9Eu8B3cdu2iLsFAAAAAAADAAAAAwADAAAAAQADAAAAAwD///////8DAAIA////////BAAAAAMAEAALJfP9Ebn8BEWpuY2wfwco2g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CkOMtSeag9Eu8B3cdu2iLsDRGF0YQAbAAAABExpbmtlZFNoYXBlRGF0YQAFAAAAAAACTmFtZQAZAAAATGlua2VkU2hhcGVzRGF0YVByb3BlcnR5ABBWZXJzaW9uAAAAAAAJTGFzdFdyaXRlAC1pwwx8AQAAAAEA/////50AnQAAAAVfaWQAEAAAAAQl8/0RufwERam5jbB/ByjaA0RhdGEAKgAAAAhQcmVzZW50YXRpb25TY2FubmVkRm9yTGlua2VkU2hhcGVzAAEAAk5hbWUAJAAAAExpbmtlZFNoYXBlUHJlc2VudGF0aW9uU2V0dGluZ3NEYXRhABBWZXJzaW9uAAAAAAAJTGFzdFdyaXRlAExpwwx8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7021"/>
  <p:tag name="MIO_UPDATE" val="True"/>
  <p:tag name="MIO_VERSION" val="31.01.2014 11:36:49"/>
  <p:tag name="MIO_DBID" val="ED9FF2F2-6643-46BA-B685-7D49126FFAFF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heme/theme1.xml><?xml version="1.0" encoding="utf-8"?>
<a:theme xmlns:a="http://schemas.openxmlformats.org/drawingml/2006/main" name="Continental AG,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279C9B1169338439DDF4125DEFD6602" ma:contentTypeVersion="8" ma:contentTypeDescription="Create a new document." ma:contentTypeScope="" ma:versionID="f7cb943df092144fb8c1b68acaf47306">
  <xsd:schema xmlns:xsd="http://www.w3.org/2001/XMLSchema" xmlns:xs="http://www.w3.org/2001/XMLSchema" xmlns:p="http://schemas.microsoft.com/office/2006/metadata/properties" xmlns:ns2="445469c8-190e-4e83-beaa-f443a870dc0b" xmlns:ns3="fcb714e7-364d-4019-995f-049fe9903bdf" targetNamespace="http://schemas.microsoft.com/office/2006/metadata/properties" ma:root="true" ma:fieldsID="eb2064a18a07dbf547213f4fa49d6299" ns2:_="" ns3:_="">
    <xsd:import namespace="445469c8-190e-4e83-beaa-f443a870dc0b"/>
    <xsd:import namespace="fcb714e7-364d-4019-995f-049fe9903bd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5469c8-190e-4e83-beaa-f443a870dc0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b714e7-364d-4019-995f-049fe9903bd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634E019-909F-4E65-9717-203B88D7FE6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02E28DD-0B41-44E9-A4AB-5F81D2772C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45469c8-190e-4e83-beaa-f443a870dc0b"/>
    <ds:schemaRef ds:uri="fcb714e7-364d-4019-995f-049fe9903bd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</Words>
  <Application>Microsoft Office PowerPoint</Application>
  <PresentationFormat>Widescreen</PresentationFormat>
  <Paragraphs>8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等线</vt:lpstr>
      <vt:lpstr>Arial</vt:lpstr>
      <vt:lpstr>Calibri</vt:lpstr>
      <vt:lpstr>Continental AG, 4x3</vt:lpstr>
      <vt:lpstr>E-A3-system</vt:lpstr>
      <vt:lpstr>MicroService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Lei Hou</dc:creator>
  <cp:lastModifiedBy>Ji, Fengxiang</cp:lastModifiedBy>
  <cp:revision>1454</cp:revision>
  <cp:lastPrinted>2021-05-14T09:00:19Z</cp:lastPrinted>
  <dcterms:created xsi:type="dcterms:W3CDTF">2014-01-31T10:36:50Z</dcterms:created>
  <dcterms:modified xsi:type="dcterms:W3CDTF">2024-07-16T06:3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006a9c5-d130-408c-bc8e-3b5ecdb17aa0_Enabled">
    <vt:lpwstr>true</vt:lpwstr>
  </property>
  <property fmtid="{D5CDD505-2E9C-101B-9397-08002B2CF9AE}" pid="3" name="MSIP_Label_6006a9c5-d130-408c-bc8e-3b5ecdb17aa0_SetDate">
    <vt:lpwstr>2022-09-16T08:54:08Z</vt:lpwstr>
  </property>
  <property fmtid="{D5CDD505-2E9C-101B-9397-08002B2CF9AE}" pid="4" name="MSIP_Label_6006a9c5-d130-408c-bc8e-3b5ecdb17aa0_Method">
    <vt:lpwstr>Standard</vt:lpwstr>
  </property>
  <property fmtid="{D5CDD505-2E9C-101B-9397-08002B2CF9AE}" pid="5" name="MSIP_Label_6006a9c5-d130-408c-bc8e-3b5ecdb17aa0_Name">
    <vt:lpwstr>Recipients Have Full Control​</vt:lpwstr>
  </property>
  <property fmtid="{D5CDD505-2E9C-101B-9397-08002B2CF9AE}" pid="6" name="MSIP_Label_6006a9c5-d130-408c-bc8e-3b5ecdb17aa0_SiteId">
    <vt:lpwstr>8d4b558f-7b2e-40ba-ad1f-e04d79e6265a</vt:lpwstr>
  </property>
  <property fmtid="{D5CDD505-2E9C-101B-9397-08002B2CF9AE}" pid="7" name="MSIP_Label_6006a9c5-d130-408c-bc8e-3b5ecdb17aa0_ActionId">
    <vt:lpwstr>b3b2d81a-dbaa-476d-b555-843b2f762a4c</vt:lpwstr>
  </property>
  <property fmtid="{D5CDD505-2E9C-101B-9397-08002B2CF9AE}" pid="8" name="MSIP_Label_6006a9c5-d130-408c-bc8e-3b5ecdb17aa0_ContentBits">
    <vt:lpwstr>2</vt:lpwstr>
  </property>
</Properties>
</file>